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84" r:id="rId1"/>
  </p:sldMasterIdLst>
  <p:notesMasterIdLst>
    <p:notesMasterId r:id="rId14"/>
  </p:notesMasterIdLst>
  <p:handoutMasterIdLst>
    <p:handoutMasterId r:id="rId15"/>
  </p:handoutMasterIdLst>
  <p:sldIdLst>
    <p:sldId id="293" r:id="rId2"/>
    <p:sldId id="1966" r:id="rId3"/>
    <p:sldId id="1967" r:id="rId4"/>
    <p:sldId id="1968" r:id="rId5"/>
    <p:sldId id="1969" r:id="rId6"/>
    <p:sldId id="1971" r:id="rId7"/>
    <p:sldId id="1973" r:id="rId8"/>
    <p:sldId id="1976" r:id="rId9"/>
    <p:sldId id="1972" r:id="rId10"/>
    <p:sldId id="1975" r:id="rId11"/>
    <p:sldId id="1974" r:id="rId12"/>
    <p:sldId id="1965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308"/>
    <a:srgbClr val="5A61A0"/>
    <a:srgbClr val="002BC4"/>
    <a:srgbClr val="1E7BE6"/>
    <a:srgbClr val="FD7627"/>
    <a:srgbClr val="88BF2C"/>
    <a:srgbClr val="053BFF"/>
    <a:srgbClr val="4B72FF"/>
    <a:srgbClr val="001F87"/>
    <a:srgbClr val="FFEA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79" autoAdjust="0"/>
    <p:restoredTop sz="94660"/>
  </p:normalViewPr>
  <p:slideViewPr>
    <p:cSldViewPr snapToGrid="0">
      <p:cViewPr varScale="1">
        <p:scale>
          <a:sx n="88" d="100"/>
          <a:sy n="88" d="100"/>
        </p:scale>
        <p:origin x="44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74"/>
    </p:cViewPr>
  </p:sorterViewPr>
  <p:notesViewPr>
    <p:cSldViewPr snapToGrid="0">
      <p:cViewPr varScale="1">
        <p:scale>
          <a:sx n="88" d="100"/>
          <a:sy n="88" d="100"/>
        </p:scale>
        <p:origin x="3872" y="19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8CD2C08-64BB-4E1E-9AE3-A707EA1525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A214A3-0CF3-48CE-A7AA-2C6072EFC2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4539F0-EF17-4135-960C-B5441AD7BE8D}" type="datetimeFigureOut">
              <a:rPr lang="en-US" smtClean="0">
                <a:latin typeface="Arial" panose="020B0604020202020204" pitchFamily="34" charset="0"/>
              </a:rPr>
              <a:t>2/11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EEABF4-B62E-4F4F-AB38-0965844738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ACEAE8-DD4E-4FDF-9268-718B6A686A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8B446E-4F07-403E-BF41-B7B29C8CA48C}" type="slidenum">
              <a:rPr lang="en-US" smtClean="0">
                <a:latin typeface="Arial" panose="020B0604020202020204" pitchFamily="34" charset="0"/>
              </a:rPr>
              <a:t>‹N°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134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47DA482-11F4-4714-A1C7-9A90733BADE9}" type="datetimeFigureOut">
              <a:rPr lang="en-US" smtClean="0"/>
              <a:pPr/>
              <a:t>2/1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076295-620E-4F3C-95A6-6AFF0D3A9339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108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076295-620E-4F3C-95A6-6AFF0D3A9339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4310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076295-620E-4F3C-95A6-6AFF0D3A9339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9253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076295-620E-4F3C-95A6-6AFF0D3A9339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861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6.bin"/><Relationship Id="rId18" Type="http://schemas.openxmlformats.org/officeDocument/2006/relationships/oleObject" Target="../embeddings/oleObject10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Master" Target="../slideMasters/slideMaster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C66C825-29CF-422B-9BFE-ABCFF6F030BD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4635222D-0315-4783-96D6-E690679D7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5F6BC5B-6F1D-4B20-9A7D-BB5D8783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1AE8D94-B6B9-44B3-B158-8DD8BD73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E47811C8-8003-46E0-91ED-FA505E768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ED6DD98-B107-4A15-8DD3-981C6FC9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B8D85966-5373-4D66-B1BA-96D52CE1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18D062D2-0195-437C-8BB7-AE8380543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C5EE8B3A-CADD-49C2-9403-07D1EBAD0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F98BA4DA-1EF5-42FB-AFCF-0A022574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FEFF7C-FC8E-4E69-9F52-660BCFDAC4D1}"/>
              </a:ext>
            </a:extLst>
          </p:cNvPr>
          <p:cNvGrpSpPr>
            <a:grpSpLocks/>
          </p:cNvGrpSpPr>
          <p:nvPr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3154726-4EE4-47ED-A212-50F7CAB11B26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FBC573F0-0275-4D44-B3FE-D08A0F184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D6F1A854-E92E-48CA-ADAD-585911B0C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id="{B27D6C3A-FC76-42D5-BEB4-A0761B45A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id="{D9ECE05A-6B6C-47CA-93CA-AA9BA2885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9">
                <a:extLst>
                  <a:ext uri="{FF2B5EF4-FFF2-40B4-BE49-F238E27FC236}">
                    <a16:creationId xmlns:a16="http://schemas.microsoft.com/office/drawing/2014/main" id="{4917CDE8-FDCC-43E0-86B9-E34AEB479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">
                <a:extLst>
                  <a:ext uri="{FF2B5EF4-FFF2-40B4-BE49-F238E27FC236}">
                    <a16:creationId xmlns:a16="http://schemas.microsoft.com/office/drawing/2014/main" id="{D61F04B0-0841-41C9-B561-3CA1B1AF6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1">
                <a:extLst>
                  <a:ext uri="{FF2B5EF4-FFF2-40B4-BE49-F238E27FC236}">
                    <a16:creationId xmlns:a16="http://schemas.microsoft.com/office/drawing/2014/main" id="{9928F9A3-D252-4C81-BABE-2441EBCA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id="{F57CFECC-B4AE-48B4-A350-93952ED9E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3">
                <a:extLst>
                  <a:ext uri="{FF2B5EF4-FFF2-40B4-BE49-F238E27FC236}">
                    <a16:creationId xmlns:a16="http://schemas.microsoft.com/office/drawing/2014/main" id="{9FAFEC81-ABB6-4EC4-9D85-9826B2379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id="{DBDFE334-6299-4A00-9068-2E49EE089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CB6EFD8C-F6DA-4D3D-BB60-6C6DF9C7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3391" y="2388689"/>
            <a:ext cx="5503180" cy="1089528"/>
          </a:xfrm>
        </p:spPr>
        <p:txBody>
          <a:bodyPr anchor="b"/>
          <a:lstStyle>
            <a:lvl1pPr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6260023-D145-4ACF-A998-C4B169D6A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3389" y="3551159"/>
            <a:ext cx="5503179" cy="81735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7EF4A5E-964F-443E-BE2B-139C1B066BF2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8895497D-19E3-40A9-853D-1F80BCEE1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37552FA-05A2-4103-BCC0-93B9747FE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199AF8FB-048F-4085-990F-98A0D9A7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08123B19-DB85-4E83-B8CF-342588C3E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FFDF3801-44D3-4149-82C6-85B6A7160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FCC37EF9-D366-4183-A0B0-E82D78530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95348F9-3222-4871-84C9-F873C5D9A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5D7AC1E0-3162-4C74-9254-C735F2ECD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B5E5F53B-2634-444A-B45A-1CE60BAF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ED2D8F9-B666-4ACC-B595-B21F802F7D03}"/>
              </a:ext>
            </a:extLst>
          </p:cNvPr>
          <p:cNvGrpSpPr>
            <a:grpSpLocks/>
          </p:cNvGrpSpPr>
          <p:nvPr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D524078-6249-4B15-A7D8-3EFA8EDA0C97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43" name="Freeform 25">
                <a:extLst>
                  <a:ext uri="{FF2B5EF4-FFF2-40B4-BE49-F238E27FC236}">
                    <a16:creationId xmlns:a16="http://schemas.microsoft.com/office/drawing/2014/main" id="{31F0670D-623B-43F0-8ECD-62EC33F5D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6">
                <a:extLst>
                  <a:ext uri="{FF2B5EF4-FFF2-40B4-BE49-F238E27FC236}">
                    <a16:creationId xmlns:a16="http://schemas.microsoft.com/office/drawing/2014/main" id="{D882C490-23CE-4A81-9663-C93095D06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7">
                <a:extLst>
                  <a:ext uri="{FF2B5EF4-FFF2-40B4-BE49-F238E27FC236}">
                    <a16:creationId xmlns:a16="http://schemas.microsoft.com/office/drawing/2014/main" id="{77DC2465-B8AD-48DB-BB26-8D699DFA7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id="{9B0AF956-0F0A-4149-B756-7796EA961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AB135C31-7E42-4D6E-B085-D420E917D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DA36A413-CCAA-4F3E-A16B-B21FAE77F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1">
                <a:extLst>
                  <a:ext uri="{FF2B5EF4-FFF2-40B4-BE49-F238E27FC236}">
                    <a16:creationId xmlns:a16="http://schemas.microsoft.com/office/drawing/2014/main" id="{7571954E-F14A-4362-B792-52400442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2">
                <a:extLst>
                  <a:ext uri="{FF2B5EF4-FFF2-40B4-BE49-F238E27FC236}">
                    <a16:creationId xmlns:a16="http://schemas.microsoft.com/office/drawing/2014/main" id="{BE350888-EF92-424F-96D0-A7D76A734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3">
                <a:extLst>
                  <a:ext uri="{FF2B5EF4-FFF2-40B4-BE49-F238E27FC236}">
                    <a16:creationId xmlns:a16="http://schemas.microsoft.com/office/drawing/2014/main" id="{10C677DF-061D-4820-8229-2A35B3553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1BA7535D-B7A1-4B9F-916E-1D1795206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BF4878D-720F-47B1-9E2E-A6A1C3FB6A77}"/>
              </a:ext>
            </a:extLst>
          </p:cNvPr>
          <p:cNvGrpSpPr/>
          <p:nvPr userDrawn="1"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id="{2BC8DC07-8A63-4B43-9A04-AC8C0BB6B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66263C1F-34A4-4045-BA8F-6CBE232A1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5F7B420C-29AD-47BA-B4FC-425F316F7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73ECB502-E43F-4A9F-A841-374F73B99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7749B455-5B80-4FFF-ADAF-56ECD7D2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DB26BAC0-B64F-494B-AF8F-FFE4AB2C1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3CAF808D-4DA7-42A6-96CA-F970AF5AF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21D44EF5-0340-4C5D-87A9-58925887F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C0E81B97-8A2B-498C-A282-2AB70242B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BB71643-D28A-437E-AA77-16BA271E9FA3}"/>
              </a:ext>
            </a:extLst>
          </p:cNvPr>
          <p:cNvGrpSpPr>
            <a:grpSpLocks/>
          </p:cNvGrpSpPr>
          <p:nvPr userDrawn="1"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0C495B0-4D89-4302-A4D3-39E7C6CB6544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65" name="Freeform 25">
                <a:extLst>
                  <a:ext uri="{FF2B5EF4-FFF2-40B4-BE49-F238E27FC236}">
                    <a16:creationId xmlns:a16="http://schemas.microsoft.com/office/drawing/2014/main" id="{EADA5A39-359F-4FE5-A8D4-3751597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6">
                <a:extLst>
                  <a:ext uri="{FF2B5EF4-FFF2-40B4-BE49-F238E27FC236}">
                    <a16:creationId xmlns:a16="http://schemas.microsoft.com/office/drawing/2014/main" id="{C7B4DF44-2AB4-4545-A5B3-B1BB8583C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7">
                <a:extLst>
                  <a:ext uri="{FF2B5EF4-FFF2-40B4-BE49-F238E27FC236}">
                    <a16:creationId xmlns:a16="http://schemas.microsoft.com/office/drawing/2014/main" id="{633D114A-0F4F-45E7-B23D-1B3E3924F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">
                <a:extLst>
                  <a:ext uri="{FF2B5EF4-FFF2-40B4-BE49-F238E27FC236}">
                    <a16:creationId xmlns:a16="http://schemas.microsoft.com/office/drawing/2014/main" id="{BC499D0A-0324-495D-9B8A-3CDFC892E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9">
                <a:extLst>
                  <a:ext uri="{FF2B5EF4-FFF2-40B4-BE49-F238E27FC236}">
                    <a16:creationId xmlns:a16="http://schemas.microsoft.com/office/drawing/2014/main" id="{ECE92F99-E4AE-49DC-93CA-E75C9E6720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0">
                <a:extLst>
                  <a:ext uri="{FF2B5EF4-FFF2-40B4-BE49-F238E27FC236}">
                    <a16:creationId xmlns:a16="http://schemas.microsoft.com/office/drawing/2014/main" id="{6228C34E-4460-4CDB-8757-C62BE79BFB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1">
                <a:extLst>
                  <a:ext uri="{FF2B5EF4-FFF2-40B4-BE49-F238E27FC236}">
                    <a16:creationId xmlns:a16="http://schemas.microsoft.com/office/drawing/2014/main" id="{8E94276C-6441-46F6-AB36-DBAADC726D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2">
                <a:extLst>
                  <a:ext uri="{FF2B5EF4-FFF2-40B4-BE49-F238E27FC236}">
                    <a16:creationId xmlns:a16="http://schemas.microsoft.com/office/drawing/2014/main" id="{F5A21BE1-FA3A-44C6-A77A-1D8844076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3">
                <a:extLst>
                  <a:ext uri="{FF2B5EF4-FFF2-40B4-BE49-F238E27FC236}">
                    <a16:creationId xmlns:a16="http://schemas.microsoft.com/office/drawing/2014/main" id="{892459D0-11F6-4301-8E8C-49F190E75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639AC637-1673-4DB7-8405-B911330E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4" name="Text Placeholder 31">
            <a:extLst>
              <a:ext uri="{FF2B5EF4-FFF2-40B4-BE49-F238E27FC236}">
                <a16:creationId xmlns:a16="http://schemas.microsoft.com/office/drawing/2014/main" id="{B0EFC53D-B48F-4673-BFD6-62DCF0B60C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3389" y="4368516"/>
            <a:ext cx="5503179" cy="1898673"/>
          </a:xfrm>
        </p:spPr>
        <p:txBody>
          <a:bodyPr>
            <a:norm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642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7"/>
            <a:ext cx="7476886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1D79F134-8512-4E7E-B15A-4229C14EBC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321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header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42913" y="1794141"/>
            <a:ext cx="7476886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7476886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4112E69-8C20-4A11-8A3A-82B1D1C13F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89439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108E184-8719-48C3-AB1F-12CD8B5E9DE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75181" y="1341437"/>
            <a:ext cx="6335732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51DE645-24A4-4410-9629-695C20BF7C2F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41BF36-36D5-4AC3-918D-FCDE94AD102E}"/>
              </a:ext>
            </a:extLst>
          </p:cNvPr>
          <p:cNvSpPr/>
          <p:nvPr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29B44A-57E4-436D-B227-39B1C97C7780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5B8CF453-B057-4706-8662-0475963D6E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EFB45E-E530-4FD3-A96A-09C31B2B314E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59EBA989-95BD-44E5-9FFB-0F1C88079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48D11407-27F7-46B1-A429-3F0550FA4D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18501D1D-CFFF-446C-9ABF-A45B6BCC7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C9DA93C9-A065-4597-9BED-6A4B7C3BEE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74106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5918646-B0B6-4E26-8700-1B438F12B16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75181" y="1794141"/>
            <a:ext cx="6335732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8B2A05-49A4-4930-9FF4-E4556FF95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75182" y="1342800"/>
            <a:ext cx="6335732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D8D63A6-E9A9-4D6D-A182-EF480A428F7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933989-24F5-4956-A56D-F20718DBFA91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74AE87-A4C7-4A22-8F12-8C18AF100541}"/>
              </a:ext>
            </a:extLst>
          </p:cNvPr>
          <p:cNvSpPr/>
          <p:nvPr/>
        </p:nvSpPr>
        <p:spPr>
          <a:xfrm>
            <a:off x="4277714" y="364333"/>
            <a:ext cx="76200" cy="62684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783C9-F0BE-4979-BDBC-8C08BCF1253F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017325-C4EE-4F7B-8567-EB291390AD2E}"/>
              </a:ext>
            </a:extLst>
          </p:cNvPr>
          <p:cNvSpPr/>
          <p:nvPr userDrawn="1"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EE0BCB7-5702-42A1-808E-0184FAAE7F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78C7E9-2EE8-4B11-979F-EF770D80B3D3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C07F8AA8-F568-450D-8961-BB3CDFDDA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336D31FB-1992-4715-86FF-C2B1CA2F8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3455B48B-44B6-4B41-8756-ACB7132157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D1B7D2AE-5903-47E8-AF57-B16835FD15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63226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 Agenda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B99AAB-A718-4449-AB16-AE61CF4E5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17661"/>
            <a:ext cx="10367999" cy="7840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C0A2E23-A9FB-4DCE-BDDE-21E279ABE4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341436"/>
            <a:ext cx="5194094" cy="49672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286623-E934-4C3F-85AA-1B9B6C9F44EF}"/>
              </a:ext>
            </a:extLst>
          </p:cNvPr>
          <p:cNvSpPr/>
          <p:nvPr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45">
            <a:extLst>
              <a:ext uri="{FF2B5EF4-FFF2-40B4-BE49-F238E27FC236}">
                <a16:creationId xmlns:a16="http://schemas.microsoft.com/office/drawing/2014/main" id="{8ABE9E57-EEE0-4438-BA8E-527B3E7B11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CE8CE4-6F6D-4D6E-BA70-62B67A8FBAAA}"/>
              </a:ext>
            </a:extLst>
          </p:cNvPr>
          <p:cNvSpPr/>
          <p:nvPr userDrawn="1"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228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1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1576C2A-F971-4013-B5C9-628794A2B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F0262607-5D9E-4C0E-85EF-C58325EA40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reeform 44">
            <a:extLst>
              <a:ext uri="{FF2B5EF4-FFF2-40B4-BE49-F238E27FC236}">
                <a16:creationId xmlns:a16="http://schemas.microsoft.com/office/drawing/2014/main" id="{8CBB30A4-3CAE-403A-B477-882D83D5CB3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5C12A34D-0C8C-4AFF-AC66-5FDE57F850A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0281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2">
    <p:bg>
      <p:bgPr>
        <a:gradFill>
          <a:gsLst>
            <a:gs pos="3000">
              <a:srgbClr val="88BF2C"/>
            </a:gs>
            <a:gs pos="100000">
              <a:srgbClr val="BBDD8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679222">
              <a:alpha val="12941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B5261605-C785-4FC0-A7B0-EA4964B75F38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EED6F321-78E0-48CC-A48B-DE3B4E6F73F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60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3">
    <p:bg>
      <p:bgPr>
        <a:gradFill>
          <a:gsLst>
            <a:gs pos="5000">
              <a:srgbClr val="FD7627"/>
            </a:gs>
            <a:gs pos="100000">
              <a:srgbClr val="FEA06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D44A05">
              <a:alpha val="15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6A835F36-E47E-47AC-B3CF-2ABAEE737E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F8CFF4A3-24D0-4B2E-9126-1FE636815A7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1080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4">
    <p:bg>
      <p:bgPr>
        <a:gradFill>
          <a:gsLst>
            <a:gs pos="5000">
              <a:srgbClr val="1E7BE6"/>
            </a:gs>
            <a:gs pos="100000">
              <a:srgbClr val="74B7F3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13498E">
              <a:alpha val="15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D9C09283-4AC1-4799-B6D5-659D854FFBA7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B8E733FD-A66F-4B7C-9C65-2B4A613C6E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7514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5">
    <p:bg>
      <p:bgPr>
        <a:gradFill>
          <a:gsLst>
            <a:gs pos="5000">
              <a:srgbClr val="002BC4"/>
            </a:gs>
            <a:gs pos="100000">
              <a:srgbClr val="4B72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001F87">
              <a:alpha val="13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16B69240-4263-4F33-A32B-4208362FC4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897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4115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6">
    <p:bg>
      <p:bgPr>
        <a:gradFill>
          <a:gsLst>
            <a:gs pos="5000">
              <a:srgbClr val="5A61A0"/>
            </a:gs>
            <a:gs pos="100000">
              <a:srgbClr val="9FA6C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353A64">
              <a:alpha val="14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07B46B3D-3EFC-48A1-93E2-C96F6D881EF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323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9991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82480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ing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1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173967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2913967" y="2169000"/>
            <a:ext cx="2520000" cy="2520000"/>
          </a:xfrm>
          <a:prstGeom prst="ellipse">
            <a:avLst/>
          </a:prstGeom>
          <a:solidFill>
            <a:schemeClr val="bg1">
              <a:lumMod val="100000"/>
            </a:schemeClr>
          </a:solidFill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sr-Latn-RS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757934" y="2385597"/>
            <a:ext cx="4520201" cy="432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757934" y="2846547"/>
            <a:ext cx="4520201" cy="288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757934" y="3190133"/>
            <a:ext cx="4520201" cy="1376754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 u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110513B-FB06-4F25-A0C3-6C3CD462F87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1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110513B-FB06-4F25-A0C3-6C3CD462F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033B574-531E-4D27-BBE9-BD1327EA553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D22E462-55A6-429E-8BE9-A45F747E9D7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1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D22E462-55A6-429E-8BE9-A45F747E9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449987F-5EFF-43A4-A612-55F8334D88B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586C393D-8CF9-4854-90E6-67DAB62D7CE7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1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F1E38463-3513-4AF0-A6D2-B2176D9EC34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1089EFB-747E-4AE1-A818-EF658C15C7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1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A5A013E-D170-49D7-A8CD-10BC71145E9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4448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42911" y="4505325"/>
            <a:ext cx="10368001" cy="1803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just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591CB7-A523-441B-8478-657A83BAA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341438"/>
            <a:ext cx="11453586" cy="2887662"/>
          </a:xfrm>
          <a:custGeom>
            <a:avLst/>
            <a:gdLst>
              <a:gd name="connsiteX0" fmla="*/ 0 w 11453586"/>
              <a:gd name="connsiteY0" fmla="*/ 0 h 2887662"/>
              <a:gd name="connsiteX1" fmla="*/ 11453586 w 11453586"/>
              <a:gd name="connsiteY1" fmla="*/ 0 h 2887662"/>
              <a:gd name="connsiteX2" fmla="*/ 11265494 w 11453586"/>
              <a:gd name="connsiteY2" fmla="*/ 1567043 h 2887662"/>
              <a:gd name="connsiteX3" fmla="*/ 11010900 w 11453586"/>
              <a:gd name="connsiteY3" fmla="*/ 1999148 h 2887662"/>
              <a:gd name="connsiteX4" fmla="*/ 11207607 w 11453586"/>
              <a:gd name="connsiteY4" fmla="*/ 2887662 h 2887662"/>
              <a:gd name="connsiteX5" fmla="*/ 0 w 11453586"/>
              <a:gd name="connsiteY5" fmla="*/ 2887662 h 2887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3586" h="2887662">
                <a:moveTo>
                  <a:pt x="0" y="0"/>
                </a:moveTo>
                <a:lnTo>
                  <a:pt x="11453586" y="0"/>
                </a:lnTo>
                <a:lnTo>
                  <a:pt x="11265494" y="1567043"/>
                </a:lnTo>
                <a:lnTo>
                  <a:pt x="11010900" y="1999148"/>
                </a:lnTo>
                <a:lnTo>
                  <a:pt x="11207607" y="2887662"/>
                </a:lnTo>
                <a:lnTo>
                  <a:pt x="0" y="28876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695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12494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560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95560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073043" y="4178300"/>
            <a:ext cx="3058024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056109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416715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416715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4073043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7433592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16197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ircula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210043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570649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931255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426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64260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2481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224809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585417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585415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139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" y="2009440"/>
            <a:ext cx="6143625" cy="363573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A47580F-5D75-4F5B-8AEF-502D2A0C3317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6657D8-299A-4EC6-A6D2-8FD9B92F8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099" y="2133600"/>
            <a:ext cx="4422813" cy="33782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ECB4BF9-24E4-4D5F-9425-BA9DAD3A2D6A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4A64007-82A0-4D38-A8A9-558B2D3F9798}"/>
              </a:ext>
            </a:extLst>
          </p:cNvPr>
          <p:cNvSpPr>
            <a:spLocks/>
          </p:cNvSpPr>
          <p:nvPr userDrawn="1"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8380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903578" y="1976470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5903578" y="4153611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0D85D52-66CB-4B04-9B6B-C9ABBA529057}"/>
              </a:ext>
            </a:extLst>
          </p:cNvPr>
          <p:cNvSpPr/>
          <p:nvPr userDrawn="1"/>
        </p:nvSpPr>
        <p:spPr>
          <a:xfrm>
            <a:off x="4990245" y="2237830"/>
            <a:ext cx="720000" cy="720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BB6BFB3-C51E-409F-86CF-373C364C9A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912" y="165417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8CEDD78-0C23-44FA-8379-8281A4C97D4D}"/>
              </a:ext>
            </a:extLst>
          </p:cNvPr>
          <p:cNvSpPr>
            <a:spLocks/>
          </p:cNvSpPr>
          <p:nvPr userDrawn="1"/>
        </p:nvSpPr>
        <p:spPr>
          <a:xfrm>
            <a:off x="4990245" y="4414974"/>
            <a:ext cx="720000" cy="7200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0C6C8902-A526-4F76-AC51-FFE23540711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2912" y="383131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9574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C66C825-29CF-422B-9BFE-ABCFF6F030BD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4635222D-0315-4783-96D6-E690679D7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5F6BC5B-6F1D-4B20-9A7D-BB5D8783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1AE8D94-B6B9-44B3-B158-8DD8BD73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E47811C8-8003-46E0-91ED-FA505E768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ED6DD98-B107-4A15-8DD3-981C6FC9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B8D85966-5373-4D66-B1BA-96D52CE1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18D062D2-0195-437C-8BB7-AE8380543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C5EE8B3A-CADD-49C2-9403-07D1EBAD0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F98BA4DA-1EF5-42FB-AFCF-0A022574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FEFF7C-FC8E-4E69-9F52-660BCFDAC4D1}"/>
              </a:ext>
            </a:extLst>
          </p:cNvPr>
          <p:cNvGrpSpPr>
            <a:grpSpLocks/>
          </p:cNvGrpSpPr>
          <p:nvPr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3154726-4EE4-47ED-A212-50F7CAB11B26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FBC573F0-0275-4D44-B3FE-D08A0F184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D6F1A854-E92E-48CA-ADAD-585911B0C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id="{B27D6C3A-FC76-42D5-BEB4-A0761B45A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id="{D9ECE05A-6B6C-47CA-93CA-AA9BA2885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9">
                <a:extLst>
                  <a:ext uri="{FF2B5EF4-FFF2-40B4-BE49-F238E27FC236}">
                    <a16:creationId xmlns:a16="http://schemas.microsoft.com/office/drawing/2014/main" id="{4917CDE8-FDCC-43E0-86B9-E34AEB479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">
                <a:extLst>
                  <a:ext uri="{FF2B5EF4-FFF2-40B4-BE49-F238E27FC236}">
                    <a16:creationId xmlns:a16="http://schemas.microsoft.com/office/drawing/2014/main" id="{D61F04B0-0841-41C9-B561-3CA1B1AF6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1">
                <a:extLst>
                  <a:ext uri="{FF2B5EF4-FFF2-40B4-BE49-F238E27FC236}">
                    <a16:creationId xmlns:a16="http://schemas.microsoft.com/office/drawing/2014/main" id="{9928F9A3-D252-4C81-BABE-2441EBCA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id="{F57CFECC-B4AE-48B4-A350-93952ED9E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3">
                <a:extLst>
                  <a:ext uri="{FF2B5EF4-FFF2-40B4-BE49-F238E27FC236}">
                    <a16:creationId xmlns:a16="http://schemas.microsoft.com/office/drawing/2014/main" id="{9FAFEC81-ABB6-4EC4-9D85-9826B2379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id="{DBDFE334-6299-4A00-9068-2E49EE089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CB6EFD8C-F6DA-4D3D-BB60-6C6DF9C7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3391" y="2884236"/>
            <a:ext cx="5503180" cy="1089528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6260023-D145-4ACF-A998-C4B169D6A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3389" y="4050681"/>
            <a:ext cx="5503179" cy="1085276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7EF4A5E-964F-443E-BE2B-139C1B066BF2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8895497D-19E3-40A9-853D-1F80BCEE1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37552FA-05A2-4103-BCC0-93B9747FE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199AF8FB-048F-4085-990F-98A0D9A7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08123B19-DB85-4E83-B8CF-342588C3E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FFDF3801-44D3-4149-82C6-85B6A7160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FCC37EF9-D366-4183-A0B0-E82D78530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95348F9-3222-4871-84C9-F873C5D9A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5D7AC1E0-3162-4C74-9254-C735F2ECD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B5E5F53B-2634-444A-B45A-1CE60BAF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ED2D8F9-B666-4ACC-B595-B21F802F7D03}"/>
              </a:ext>
            </a:extLst>
          </p:cNvPr>
          <p:cNvGrpSpPr>
            <a:grpSpLocks/>
          </p:cNvGrpSpPr>
          <p:nvPr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D524078-6249-4B15-A7D8-3EFA8EDA0C97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43" name="Freeform 25">
                <a:extLst>
                  <a:ext uri="{FF2B5EF4-FFF2-40B4-BE49-F238E27FC236}">
                    <a16:creationId xmlns:a16="http://schemas.microsoft.com/office/drawing/2014/main" id="{31F0670D-623B-43F0-8ECD-62EC33F5D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6">
                <a:extLst>
                  <a:ext uri="{FF2B5EF4-FFF2-40B4-BE49-F238E27FC236}">
                    <a16:creationId xmlns:a16="http://schemas.microsoft.com/office/drawing/2014/main" id="{D882C490-23CE-4A81-9663-C93095D06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7">
                <a:extLst>
                  <a:ext uri="{FF2B5EF4-FFF2-40B4-BE49-F238E27FC236}">
                    <a16:creationId xmlns:a16="http://schemas.microsoft.com/office/drawing/2014/main" id="{77DC2465-B8AD-48DB-BB26-8D699DFA7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id="{9B0AF956-0F0A-4149-B756-7796EA961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AB135C31-7E42-4D6E-B085-D420E917D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DA36A413-CCAA-4F3E-A16B-B21FAE77F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1">
                <a:extLst>
                  <a:ext uri="{FF2B5EF4-FFF2-40B4-BE49-F238E27FC236}">
                    <a16:creationId xmlns:a16="http://schemas.microsoft.com/office/drawing/2014/main" id="{7571954E-F14A-4362-B792-52400442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2">
                <a:extLst>
                  <a:ext uri="{FF2B5EF4-FFF2-40B4-BE49-F238E27FC236}">
                    <a16:creationId xmlns:a16="http://schemas.microsoft.com/office/drawing/2014/main" id="{BE350888-EF92-424F-96D0-A7D76A734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3">
                <a:extLst>
                  <a:ext uri="{FF2B5EF4-FFF2-40B4-BE49-F238E27FC236}">
                    <a16:creationId xmlns:a16="http://schemas.microsoft.com/office/drawing/2014/main" id="{10C677DF-061D-4820-8229-2A35B3553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1BA7535D-B7A1-4B9F-916E-1D1795206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B3A0309-2975-4C93-9F97-3985D03965BB}"/>
              </a:ext>
            </a:extLst>
          </p:cNvPr>
          <p:cNvGrpSpPr/>
          <p:nvPr userDrawn="1"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D3E8E4A8-D9C9-4933-BB4C-73430027D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538E82DF-9AD5-4263-B7E8-A914AF38E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A238FDA5-CB9D-46CB-96F5-9EF266BD4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0DA1ACCF-469A-4B7F-A862-D690C907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4C7A0D88-1167-4897-B138-B6B7CDB1E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5F3C4916-2505-414E-8842-4350AC6F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50FD003D-E551-42A8-9CE2-B16BE0E21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9205ADD0-59C2-4956-9534-5A3ACEF38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E827900F-125D-4EED-89E7-35EF03F8F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C164691-80AE-4334-9DDE-FD0C29748728}"/>
              </a:ext>
            </a:extLst>
          </p:cNvPr>
          <p:cNvGrpSpPr>
            <a:grpSpLocks/>
          </p:cNvGrpSpPr>
          <p:nvPr userDrawn="1"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242D30B-BBDC-4381-8E91-1F9A1BF93DD2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66" name="Freeform 25">
                <a:extLst>
                  <a:ext uri="{FF2B5EF4-FFF2-40B4-BE49-F238E27FC236}">
                    <a16:creationId xmlns:a16="http://schemas.microsoft.com/office/drawing/2014/main" id="{9CBD06A3-B27E-4B45-A634-CF31A18898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id="{41B8CC5A-8F1B-4692-9AA7-260A6D66B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id="{D4F1B01B-0742-4918-977E-D943C6018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">
                <a:extLst>
                  <a:ext uri="{FF2B5EF4-FFF2-40B4-BE49-F238E27FC236}">
                    <a16:creationId xmlns:a16="http://schemas.microsoft.com/office/drawing/2014/main" id="{CB00117D-0773-4E5C-BE8E-BE9537615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9">
                <a:extLst>
                  <a:ext uri="{FF2B5EF4-FFF2-40B4-BE49-F238E27FC236}">
                    <a16:creationId xmlns:a16="http://schemas.microsoft.com/office/drawing/2014/main" id="{BC663994-1881-4026-A387-3342D9BFF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0">
                <a:extLst>
                  <a:ext uri="{FF2B5EF4-FFF2-40B4-BE49-F238E27FC236}">
                    <a16:creationId xmlns:a16="http://schemas.microsoft.com/office/drawing/2014/main" id="{FFB83203-93C1-4B28-A674-7F72F5F85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1">
                <a:extLst>
                  <a:ext uri="{FF2B5EF4-FFF2-40B4-BE49-F238E27FC236}">
                    <a16:creationId xmlns:a16="http://schemas.microsoft.com/office/drawing/2014/main" id="{E653DA8B-8D08-45A4-91DE-B443FBA70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2">
                <a:extLst>
                  <a:ext uri="{FF2B5EF4-FFF2-40B4-BE49-F238E27FC236}">
                    <a16:creationId xmlns:a16="http://schemas.microsoft.com/office/drawing/2014/main" id="{F72A3AB5-B6D6-4143-9B78-1424B0795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3">
                <a:extLst>
                  <a:ext uri="{FF2B5EF4-FFF2-40B4-BE49-F238E27FC236}">
                    <a16:creationId xmlns:a16="http://schemas.microsoft.com/office/drawing/2014/main" id="{2C3B187D-A2DD-4A8F-81C9-EF3B23C402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5" name="Freeform 34">
              <a:extLst>
                <a:ext uri="{FF2B5EF4-FFF2-40B4-BE49-F238E27FC236}">
                  <a16:creationId xmlns:a16="http://schemas.microsoft.com/office/drawing/2014/main" id="{CC39647A-1EF7-44B7-B1F0-F5CF9359BC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5" name="Picture 4" descr="https://europa.eu/european-union/sites/europaeu/files/docs/body/flag_white_low.jpg">
            <a:extLst>
              <a:ext uri="{FF2B5EF4-FFF2-40B4-BE49-F238E27FC236}">
                <a16:creationId xmlns:a16="http://schemas.microsoft.com/office/drawing/2014/main" id="{7106CD6F-6EF1-4EC1-A91F-EB4EC84E12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0068" y="5372275"/>
            <a:ext cx="536499" cy="358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1C66F88E-1955-4547-B710-0606D2ED3D4E}"/>
              </a:ext>
            </a:extLst>
          </p:cNvPr>
          <p:cNvSpPr txBox="1">
            <a:spLocks/>
          </p:cNvSpPr>
          <p:nvPr userDrawn="1"/>
        </p:nvSpPr>
        <p:spPr>
          <a:xfrm>
            <a:off x="6253389" y="5289357"/>
            <a:ext cx="4807929" cy="52476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None/>
              <a:defRPr lang="en-US" sz="11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Wingdings 3" panose="05040102010807070707" pitchFamily="18" charset="2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his project has received funding from the European Union's Horizon 2020 research and innovation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programme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under grant agreement No 830892</a:t>
            </a:r>
          </a:p>
        </p:txBody>
      </p:sp>
    </p:spTree>
    <p:extLst>
      <p:ext uri="{BB962C8B-B14F-4D97-AF65-F5344CB8AC3E}">
        <p14:creationId xmlns:p14="http://schemas.microsoft.com/office/powerpoint/2010/main" val="1340052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10368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81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2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693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770914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31799" y="1794142"/>
            <a:ext cx="5040000" cy="4527319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794142"/>
            <a:ext cx="50400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1253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6583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3996113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7549312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955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-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4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3996113" y="1342800"/>
            <a:ext cx="68148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35011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-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7549313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442911" y="1342800"/>
            <a:ext cx="6814801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688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42" Type="http://schemas.openxmlformats.org/officeDocument/2006/relationships/oleObject" Target="../embeddings/oleObject1.bin"/><Relationship Id="rId47" Type="http://schemas.openxmlformats.org/officeDocument/2006/relationships/oleObject" Target="../embeddings/oleObject5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38" Type="http://schemas.openxmlformats.org/officeDocument/2006/relationships/tags" Target="../tags/tag8.xml"/><Relationship Id="rId46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tags" Target="../tags/tag7.xml"/><Relationship Id="rId40" Type="http://schemas.openxmlformats.org/officeDocument/2006/relationships/tags" Target="../tags/tag10.xml"/><Relationship Id="rId45" Type="http://schemas.openxmlformats.org/officeDocument/2006/relationships/oleObject" Target="../embeddings/oleObject3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5.xml"/><Relationship Id="rId4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341438"/>
            <a:ext cx="10368000" cy="496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42810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8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4" y="317660"/>
            <a:ext cx="10367999" cy="792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759EC7-24B3-4C8A-BDAF-CA15F7A34D3E}"/>
              </a:ext>
            </a:extLst>
          </p:cNvPr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54699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87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759EC7-24B3-4C8A-BDAF-CA15F7A34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30AF223-A835-41C0-8FF1-67DF95B18047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81B75B4-AEA4-4FAB-B889-2CFCA25F6D7E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2842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88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81B75B4-AEA4-4FAB-B889-2CFCA25F6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CF3972-DE24-411F-B61E-BE6ABD1EF009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D24452-3069-43C9-BF60-6DC10CDA9482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4F995BC-9AB3-4C1E-AF05-3AD41CE55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8767DCC5-D1F2-47B1-9605-499CF512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33DD2B46-3580-4B04-AB64-5E1F2F1E2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E648602D-8786-4652-8ED5-004009149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1CD75245-BED5-46A8-92BC-48BFACCBF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F7C475DD-8590-4884-AB99-5513A1533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89CA8EA-B116-4BD1-9AD2-7243B32C2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24FC1C6E-C553-417C-A6FB-1ABC72F43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9D2C29AD-E20F-4684-92B2-296082367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855279C-539B-4A2A-98D2-4E247335F015}"/>
              </a:ext>
            </a:extLst>
          </p:cNvPr>
          <p:cNvGrpSpPr/>
          <p:nvPr userDrawn="1"/>
        </p:nvGrpSpPr>
        <p:grpSpPr>
          <a:xfrm>
            <a:off x="11010900" y="0"/>
            <a:ext cx="1181100" cy="6858000"/>
            <a:chOff x="10896600" y="0"/>
            <a:chExt cx="1295400" cy="68341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760BE8FF-B35D-4540-A523-46710661A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3925" y="0"/>
              <a:ext cx="1108075" cy="6834188"/>
            </a:xfrm>
            <a:custGeom>
              <a:avLst/>
              <a:gdLst>
                <a:gd name="T0" fmla="*/ 698 w 698"/>
                <a:gd name="T1" fmla="*/ 0 h 4305"/>
                <a:gd name="T2" fmla="*/ 698 w 698"/>
                <a:gd name="T3" fmla="*/ 4305 h 4305"/>
                <a:gd name="T4" fmla="*/ 420 w 698"/>
                <a:gd name="T5" fmla="*/ 4305 h 4305"/>
                <a:gd name="T6" fmla="*/ 0 w 698"/>
                <a:gd name="T7" fmla="*/ 2264 h 4305"/>
                <a:gd name="T8" fmla="*/ 258 w 698"/>
                <a:gd name="T9" fmla="*/ 311 h 4305"/>
                <a:gd name="T10" fmla="*/ 334 w 698"/>
                <a:gd name="T11" fmla="*/ 0 h 4305"/>
                <a:gd name="T12" fmla="*/ 698 w 698"/>
                <a:gd name="T13" fmla="*/ 0 h 4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8" h="4305">
                  <a:moveTo>
                    <a:pt x="698" y="0"/>
                  </a:moveTo>
                  <a:lnTo>
                    <a:pt x="698" y="4305"/>
                  </a:lnTo>
                  <a:lnTo>
                    <a:pt x="420" y="4305"/>
                  </a:lnTo>
                  <a:lnTo>
                    <a:pt x="0" y="2264"/>
                  </a:lnTo>
                  <a:lnTo>
                    <a:pt x="258" y="311"/>
                  </a:lnTo>
                  <a:lnTo>
                    <a:pt x="334" y="0"/>
                  </a:lnTo>
                  <a:lnTo>
                    <a:pt x="698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A0A4ABDD-EDE4-4314-8BAA-8D712E550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8400" y="0"/>
              <a:ext cx="863600" cy="608013"/>
            </a:xfrm>
            <a:custGeom>
              <a:avLst/>
              <a:gdLst>
                <a:gd name="T0" fmla="*/ 544 w 544"/>
                <a:gd name="T1" fmla="*/ 0 h 383"/>
                <a:gd name="T2" fmla="*/ 0 w 544"/>
                <a:gd name="T3" fmla="*/ 383 h 383"/>
                <a:gd name="T4" fmla="*/ 94 w 544"/>
                <a:gd name="T5" fmla="*/ 0 h 383"/>
                <a:gd name="T6" fmla="*/ 544 w 544"/>
                <a:gd name="T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383">
                  <a:moveTo>
                    <a:pt x="544" y="0"/>
                  </a:moveTo>
                  <a:lnTo>
                    <a:pt x="0" y="383"/>
                  </a:lnTo>
                  <a:lnTo>
                    <a:pt x="94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96ED428E-EB55-4E0B-A7D8-0D282C703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6476" y="180975"/>
              <a:ext cx="768350" cy="2798763"/>
            </a:xfrm>
            <a:custGeom>
              <a:avLst/>
              <a:gdLst>
                <a:gd name="T0" fmla="*/ 484 w 484"/>
                <a:gd name="T1" fmla="*/ 0 h 1763"/>
                <a:gd name="T2" fmla="*/ 0 w 484"/>
                <a:gd name="T3" fmla="*/ 1763 h 1763"/>
                <a:gd name="T4" fmla="*/ 206 w 484"/>
                <a:gd name="T5" fmla="*/ 197 h 1763"/>
                <a:gd name="T6" fmla="*/ 484 w 484"/>
                <a:gd name="T7" fmla="*/ 0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4" h="1763">
                  <a:moveTo>
                    <a:pt x="484" y="0"/>
                  </a:moveTo>
                  <a:lnTo>
                    <a:pt x="0" y="1763"/>
                  </a:lnTo>
                  <a:lnTo>
                    <a:pt x="206" y="197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B68AB937-9D5A-4FDC-AD0B-F48A8421D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6600" y="2863850"/>
              <a:ext cx="854075" cy="3970338"/>
            </a:xfrm>
            <a:custGeom>
              <a:avLst/>
              <a:gdLst>
                <a:gd name="T0" fmla="*/ 190 w 538"/>
                <a:gd name="T1" fmla="*/ 0 h 2501"/>
                <a:gd name="T2" fmla="*/ 538 w 538"/>
                <a:gd name="T3" fmla="*/ 2501 h 2501"/>
                <a:gd name="T4" fmla="*/ 0 w 538"/>
                <a:gd name="T5" fmla="*/ 293 h 2501"/>
                <a:gd name="T6" fmla="*/ 190 w 538"/>
                <a:gd name="T7" fmla="*/ 0 h 2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8" h="2501">
                  <a:moveTo>
                    <a:pt x="190" y="0"/>
                  </a:moveTo>
                  <a:lnTo>
                    <a:pt x="538" y="2501"/>
                  </a:lnTo>
                  <a:lnTo>
                    <a:pt x="0" y="293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5A346065-8680-443A-A45F-6C62317DD2A0}"/>
              </a:ext>
            </a:extLst>
          </p:cNvPr>
          <p:cNvSpPr/>
          <p:nvPr/>
        </p:nvSpPr>
        <p:spPr>
          <a:xfrm rot="16200000">
            <a:off x="11016961" y="3336668"/>
            <a:ext cx="1886735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@</a:t>
            </a:r>
            <a:r>
              <a:rPr lang="en-US" sz="1200" spc="100" baseline="0" dirty="0" err="1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sparta_eu</a:t>
            </a: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 | sparta.eu</a:t>
            </a:r>
            <a:endParaRPr lang="fr-FR" sz="2000" spc="100" baseline="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6E1DEFD-C5E6-4EC2-AB69-7A0ECE8E0A2A}"/>
              </a:ext>
            </a:extLst>
          </p:cNvPr>
          <p:cNvSpPr/>
          <p:nvPr/>
        </p:nvSpPr>
        <p:spPr>
          <a:xfrm>
            <a:off x="11851325" y="6411498"/>
            <a:ext cx="218009" cy="2154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fld id="{0328457F-132B-4300-A6DA-AA6E301E4F7F}" type="slidenum">
              <a:rPr lang="en-US" sz="1400" smtClean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‹N°›</a:t>
            </a:fld>
            <a:endParaRPr lang="fr-FR" sz="240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C3F33D86-0E0A-4F5E-BE04-18C2F0FD8F14}"/>
              </a:ext>
            </a:extLst>
          </p:cNvPr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404492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89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001CF49D-6018-43E2-AA50-A37C37DD3866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A5D29D-C11E-4B14-BC9E-4134FC19EBFB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8273E85B-6C25-46B4-B890-3BD6B1733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8B1FC910-036C-4CA2-B9E4-082CC830A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B235EC5C-68B2-4C25-A7D1-AEE3A629C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D1091D35-B897-4BCD-AC06-B5CD7EA0D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7E1EA12C-368C-4A26-A37A-BDEF26B52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0">
              <a:extLst>
                <a:ext uri="{FF2B5EF4-FFF2-40B4-BE49-F238E27FC236}">
                  <a16:creationId xmlns:a16="http://schemas.microsoft.com/office/drawing/2014/main" id="{9EE8E045-66BD-40F5-88F5-498821DF2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3E9F10F-D425-44E7-8CB5-36B76201B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2">
              <a:extLst>
                <a:ext uri="{FF2B5EF4-FFF2-40B4-BE49-F238E27FC236}">
                  <a16:creationId xmlns:a16="http://schemas.microsoft.com/office/drawing/2014/main" id="{8B39189E-56CF-49F7-996E-6457A11B4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3">
              <a:extLst>
                <a:ext uri="{FF2B5EF4-FFF2-40B4-BE49-F238E27FC236}">
                  <a16:creationId xmlns:a16="http://schemas.microsoft.com/office/drawing/2014/main" id="{E74A06D7-8AF7-42E4-B91B-1C0A45BCD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42BEB269-F91F-458E-896B-10C7CC8E8AEF}"/>
              </a:ext>
            </a:extLst>
          </p:cNvPr>
          <p:cNvSpPr/>
          <p:nvPr/>
        </p:nvSpPr>
        <p:spPr>
          <a:xfrm>
            <a:off x="240702" y="360844"/>
            <a:ext cx="76200" cy="6488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B6A8E5E9-3DED-4186-BD10-F2C817F7F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73160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90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4CAD0CA-F2B7-4794-AF83-E1200D8C943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13E804F-7227-4028-B77C-35175004DBC3}"/>
              </a:ext>
            </a:extLst>
          </p:cNvPr>
          <p:cNvGrpSpPr/>
          <p:nvPr userDrawn="1"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81D616EA-C486-466A-B6CD-649E4C7C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8FEBF371-6DC7-4DA1-BDD7-5386F91B7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A8E337B6-0300-4898-9572-53589ACA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C635D8B7-88FC-44C9-84D5-9B6CC5CB7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A067701C-95D2-463E-8259-6C5EDAD7D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CB4BDD23-6E08-4B43-8E99-90B467380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93B962FF-B078-4017-958A-E41D73D6E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A92A557F-18C7-4504-A10A-57479239F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5A9AD15B-71B8-4B0A-8CA2-516C36D7A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0930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93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5" r:id="rId10"/>
    <p:sldLayoutId id="2147484496" r:id="rId11"/>
    <p:sldLayoutId id="2147484498" r:id="rId12"/>
    <p:sldLayoutId id="2147484499" r:id="rId13"/>
    <p:sldLayoutId id="2147484500" r:id="rId14"/>
    <p:sldLayoutId id="2147484501" r:id="rId15"/>
    <p:sldLayoutId id="2147484502" r:id="rId16"/>
    <p:sldLayoutId id="2147484503" r:id="rId17"/>
    <p:sldLayoutId id="2147484504" r:id="rId18"/>
    <p:sldLayoutId id="2147484505" r:id="rId19"/>
    <p:sldLayoutId id="2147484506" r:id="rId20"/>
    <p:sldLayoutId id="2147484507" r:id="rId21"/>
    <p:sldLayoutId id="2147484511" r:id="rId22"/>
    <p:sldLayoutId id="2147484512" r:id="rId23"/>
    <p:sldLayoutId id="2147484513" r:id="rId24"/>
    <p:sldLayoutId id="2147484514" r:id="rId25"/>
    <p:sldLayoutId id="2147484518" r:id="rId26"/>
    <p:sldLayoutId id="2147484516" r:id="rId27"/>
    <p:sldLayoutId id="2147484517" r:id="rId28"/>
    <p:sldLayoutId id="2147484520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3840">
          <p15:clr>
            <a:srgbClr val="F26B43"/>
          </p15:clr>
        </p15:guide>
        <p15:guide id="15" pos="279">
          <p15:clr>
            <a:srgbClr val="F26B43"/>
          </p15:clr>
        </p15:guide>
        <p15:guide id="16" pos="7401">
          <p15:clr>
            <a:srgbClr val="F26B43"/>
          </p15:clr>
        </p15:guide>
        <p15:guide id="17" orient="horz" pos="3974">
          <p15:clr>
            <a:srgbClr val="F26B43"/>
          </p15:clr>
        </p15:guide>
        <p15:guide id="18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B58D5-BE9C-401E-B5B5-0B12A032A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200" dirty="0" smtClean="0"/>
              <a:t>WP X </a:t>
            </a:r>
            <a:r>
              <a:rPr lang="fr-FR" sz="3200" dirty="0" err="1" smtClean="0"/>
              <a:t>Presentation</a:t>
            </a:r>
            <a:endParaRPr lang="en-US" sz="3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15CB2-768C-47BB-B816-3AA0238D6D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PARTA Review</a:t>
            </a:r>
            <a:endParaRPr lang="en-US" dirty="0"/>
          </a:p>
          <a:p>
            <a:endParaRPr lang="sr-Latn-R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523A11A-5DF0-4C37-A7B9-8FF1360085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 err="1" smtClean="0">
                <a:solidFill>
                  <a:schemeClr val="accent1"/>
                </a:solidFill>
              </a:rPr>
              <a:t>Wp</a:t>
            </a:r>
            <a:r>
              <a:rPr lang="en-US" b="1" dirty="0" smtClean="0">
                <a:solidFill>
                  <a:schemeClr val="accent1"/>
                </a:solidFill>
              </a:rPr>
              <a:t> lead</a:t>
            </a:r>
            <a:endParaRPr lang="en-US" b="1" dirty="0">
              <a:solidFill>
                <a:schemeClr val="accent1"/>
              </a:solidFill>
            </a:endParaRPr>
          </a:p>
          <a:p>
            <a:r>
              <a:rPr lang="en-US" dirty="0" smtClean="0"/>
              <a:t>1</a:t>
            </a:r>
            <a:r>
              <a:rPr lang="en-US" baseline="30000" dirty="0" smtClean="0"/>
              <a:t>st</a:t>
            </a:r>
            <a:r>
              <a:rPr lang="en-US" dirty="0" smtClean="0"/>
              <a:t> Year Review Meeting, Brussels</a:t>
            </a:r>
            <a:endParaRPr lang="en-US" dirty="0"/>
          </a:p>
          <a:p>
            <a:r>
              <a:rPr lang="en-US" dirty="0"/>
              <a:t>@</a:t>
            </a:r>
            <a:r>
              <a:rPr lang="en-US" dirty="0" err="1"/>
              <a:t>sparta_eu</a:t>
            </a:r>
            <a:endParaRPr lang="en-US" dirty="0"/>
          </a:p>
          <a:p>
            <a:r>
              <a:rPr lang="en-US" dirty="0"/>
              <a:t>sparta.eu</a:t>
            </a:r>
          </a:p>
          <a:p>
            <a:r>
              <a:rPr lang="en-US" dirty="0"/>
              <a:t>February </a:t>
            </a:r>
            <a:r>
              <a:rPr lang="en-US" dirty="0" smtClean="0"/>
              <a:t>2020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13766878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C9E12E-B644-483D-91C0-391C4A708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6 – </a:t>
            </a:r>
            <a:r>
              <a:rPr lang="fr-FR" dirty="0" err="1" smtClean="0"/>
              <a:t>Risks</a:t>
            </a:r>
            <a:r>
              <a:rPr lang="fr-FR" dirty="0" smtClean="0"/>
              <a:t> &amp; </a:t>
            </a:r>
            <a:r>
              <a:rPr lang="fr-FR" dirty="0" err="1" smtClean="0"/>
              <a:t>Deviations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>
                <a:solidFill>
                  <a:schemeClr val="accent1"/>
                </a:solidFill>
              </a:rPr>
              <a:t>DEVIATIONS</a:t>
            </a:r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08442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7 – </a:t>
            </a:r>
            <a:r>
              <a:rPr lang="fr-FR" dirty="0" err="1" smtClean="0"/>
              <a:t>Demonstration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 dirty="0" err="1" smtClean="0"/>
              <a:t>Only</a:t>
            </a:r>
            <a:r>
              <a:rPr lang="fr-FR" dirty="0" smtClean="0"/>
              <a:t> for program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28546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C8D6A-5A32-471E-B08B-3BB2A8B69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 for watching!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C027A1-2232-4AB2-83A1-030D2830DB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sparta_eu</a:t>
            </a:r>
            <a:r>
              <a:rPr lang="en-US" dirty="0"/>
              <a:t> | sparta.eu</a:t>
            </a:r>
          </a:p>
          <a:p>
            <a:r>
              <a:rPr lang="en-US" dirty="0"/>
              <a:t>February </a:t>
            </a:r>
            <a:r>
              <a:rPr lang="en-US" dirty="0" smtClean="0"/>
              <a:t>2020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28367438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ummary</a:t>
            </a:r>
            <a:r>
              <a:rPr lang="fr-FR" dirty="0" smtClean="0"/>
              <a:t>	</a:t>
            </a:r>
            <a:br>
              <a:rPr lang="fr-FR" dirty="0" smtClean="0"/>
            </a:b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442913" y="1341436"/>
            <a:ext cx="6010138" cy="4967287"/>
          </a:xfrm>
        </p:spPr>
        <p:txBody>
          <a:bodyPr/>
          <a:lstStyle/>
          <a:p>
            <a:r>
              <a:rPr lang="fr-FR" dirty="0" smtClean="0"/>
              <a:t>1	Introduction</a:t>
            </a:r>
          </a:p>
          <a:p>
            <a:r>
              <a:rPr lang="fr-FR" dirty="0" smtClean="0"/>
              <a:t>2	Scope &amp; Objectives</a:t>
            </a:r>
          </a:p>
          <a:p>
            <a:r>
              <a:rPr lang="fr-FR" dirty="0" smtClean="0"/>
              <a:t>3</a:t>
            </a:r>
            <a:r>
              <a:rPr lang="fr-FR" dirty="0"/>
              <a:t>	</a:t>
            </a:r>
            <a:r>
              <a:rPr lang="fr-FR" dirty="0" err="1" smtClean="0"/>
              <a:t>Current</a:t>
            </a:r>
            <a:r>
              <a:rPr lang="fr-FR" dirty="0" smtClean="0"/>
              <a:t> </a:t>
            </a:r>
            <a:r>
              <a:rPr lang="fr-FR" dirty="0" err="1" smtClean="0"/>
              <a:t>status</a:t>
            </a:r>
            <a:r>
              <a:rPr lang="fr-FR" dirty="0" smtClean="0"/>
              <a:t> &amp; </a:t>
            </a:r>
            <a:r>
              <a:rPr lang="fr-FR" dirty="0" err="1" smtClean="0"/>
              <a:t>Achievements</a:t>
            </a:r>
            <a:endParaRPr lang="fr-FR" dirty="0"/>
          </a:p>
          <a:p>
            <a:r>
              <a:rPr lang="fr-FR" dirty="0"/>
              <a:t>4</a:t>
            </a:r>
            <a:r>
              <a:rPr lang="fr-FR" dirty="0" smtClean="0"/>
              <a:t>	</a:t>
            </a:r>
            <a:r>
              <a:rPr lang="fr-FR" dirty="0" err="1" smtClean="0"/>
              <a:t>Submitted</a:t>
            </a:r>
            <a:r>
              <a:rPr lang="fr-FR" dirty="0" smtClean="0"/>
              <a:t> </a:t>
            </a:r>
            <a:r>
              <a:rPr lang="fr-FR" dirty="0" err="1" smtClean="0"/>
              <a:t>deliverables</a:t>
            </a:r>
            <a:endParaRPr lang="fr-FR" dirty="0" smtClean="0"/>
          </a:p>
          <a:p>
            <a:r>
              <a:rPr lang="fr-FR" dirty="0"/>
              <a:t>5</a:t>
            </a:r>
            <a:r>
              <a:rPr lang="fr-FR" dirty="0" smtClean="0"/>
              <a:t>	Roadmap</a:t>
            </a:r>
            <a:endParaRPr lang="fr-FR" dirty="0"/>
          </a:p>
          <a:p>
            <a:r>
              <a:rPr lang="fr-FR" dirty="0" smtClean="0"/>
              <a:t>6	</a:t>
            </a:r>
            <a:r>
              <a:rPr lang="fr-FR" dirty="0" err="1" smtClean="0"/>
              <a:t>Risks</a:t>
            </a:r>
            <a:r>
              <a:rPr lang="fr-FR" dirty="0" smtClean="0"/>
              <a:t> &amp; </a:t>
            </a:r>
            <a:r>
              <a:rPr lang="fr-FR" dirty="0" err="1" smtClean="0"/>
              <a:t>Deviations</a:t>
            </a:r>
            <a:endParaRPr lang="fr-FR" dirty="0" smtClean="0"/>
          </a:p>
          <a:p>
            <a:r>
              <a:rPr lang="fr-FR" dirty="0"/>
              <a:t>7	</a:t>
            </a:r>
            <a:r>
              <a:rPr lang="fr-FR" dirty="0" err="1" smtClean="0"/>
              <a:t>Demonstration</a:t>
            </a:r>
            <a:endParaRPr lang="fr-FR" dirty="0"/>
          </a:p>
          <a:p>
            <a:endParaRPr lang="fr-FR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699792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1 – INTRODUCTION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1483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 – SCOPE &amp; Objectives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cap="none" dirty="0" smtClean="0">
                <a:solidFill>
                  <a:schemeClr val="accent1"/>
                </a:solidFill>
              </a:rPr>
              <a:t>WP </a:t>
            </a:r>
            <a:r>
              <a:rPr lang="fr-FR" cap="none" dirty="0" err="1">
                <a:solidFill>
                  <a:schemeClr val="accent1"/>
                </a:solidFill>
              </a:rPr>
              <a:t>O</a:t>
            </a:r>
            <a:r>
              <a:rPr lang="fr-FR" cap="none" dirty="0" err="1" smtClean="0">
                <a:solidFill>
                  <a:schemeClr val="accent1"/>
                </a:solidFill>
              </a:rPr>
              <a:t>verview</a:t>
            </a:r>
            <a:endParaRPr lang="fr-FR" cap="none" dirty="0">
              <a:solidFill>
                <a:schemeClr val="accent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fr-FR" dirty="0" err="1" smtClean="0"/>
              <a:t>Overview</a:t>
            </a:r>
            <a:endParaRPr lang="fr-FR" dirty="0" smtClean="0"/>
          </a:p>
          <a:p>
            <a:pPr lvl="1"/>
            <a:r>
              <a:rPr lang="fr-FR" dirty="0" smtClean="0"/>
              <a:t>Duration: M01-M36</a:t>
            </a:r>
          </a:p>
          <a:p>
            <a:pPr lvl="1"/>
            <a:r>
              <a:rPr lang="fr-FR" dirty="0" smtClean="0"/>
              <a:t>WP Lead: </a:t>
            </a:r>
          </a:p>
          <a:p>
            <a:pPr lvl="1"/>
            <a:r>
              <a:rPr lang="fr-FR" dirty="0" err="1" smtClean="0"/>
              <a:t>Partners</a:t>
            </a:r>
            <a:r>
              <a:rPr lang="fr-FR" dirty="0" smtClean="0"/>
              <a:t> </a:t>
            </a:r>
            <a:r>
              <a:rPr lang="fr-FR" dirty="0" err="1" smtClean="0"/>
              <a:t>involved</a:t>
            </a:r>
            <a:r>
              <a:rPr lang="fr-FR" dirty="0" smtClean="0"/>
              <a:t>:</a:t>
            </a:r>
          </a:p>
          <a:p>
            <a:r>
              <a:rPr lang="fr-FR" dirty="0" smtClean="0"/>
              <a:t>Structure</a:t>
            </a:r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0089364"/>
              </p:ext>
            </p:extLst>
          </p:nvPr>
        </p:nvGraphicFramePr>
        <p:xfrm>
          <a:off x="586376" y="3044853"/>
          <a:ext cx="10386424" cy="19530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4747">
                  <a:extLst>
                    <a:ext uri="{9D8B030D-6E8A-4147-A177-3AD203B41FA5}">
                      <a16:colId xmlns:a16="http://schemas.microsoft.com/office/drawing/2014/main" val="3615954095"/>
                    </a:ext>
                  </a:extLst>
                </a:gridCol>
                <a:gridCol w="3558473">
                  <a:extLst>
                    <a:ext uri="{9D8B030D-6E8A-4147-A177-3AD203B41FA5}">
                      <a16:colId xmlns:a16="http://schemas.microsoft.com/office/drawing/2014/main" val="3942912552"/>
                    </a:ext>
                  </a:extLst>
                </a:gridCol>
                <a:gridCol w="803821">
                  <a:extLst>
                    <a:ext uri="{9D8B030D-6E8A-4147-A177-3AD203B41FA5}">
                      <a16:colId xmlns:a16="http://schemas.microsoft.com/office/drawing/2014/main" val="472093918"/>
                    </a:ext>
                  </a:extLst>
                </a:gridCol>
                <a:gridCol w="1175657">
                  <a:extLst>
                    <a:ext uri="{9D8B030D-6E8A-4147-A177-3AD203B41FA5}">
                      <a16:colId xmlns:a16="http://schemas.microsoft.com/office/drawing/2014/main" val="2166875207"/>
                    </a:ext>
                  </a:extLst>
                </a:gridCol>
                <a:gridCol w="3683726">
                  <a:extLst>
                    <a:ext uri="{9D8B030D-6E8A-4147-A177-3AD203B41FA5}">
                      <a16:colId xmlns:a16="http://schemas.microsoft.com/office/drawing/2014/main" val="1756685400"/>
                    </a:ext>
                  </a:extLst>
                </a:gridCol>
              </a:tblGrid>
              <a:tr h="377616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#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Title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Lead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Date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DoA</a:t>
                      </a:r>
                      <a:endParaRPr lang="fr-FR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3380392"/>
                  </a:ext>
                </a:extLst>
              </a:tr>
              <a:tr h="787723">
                <a:tc>
                  <a:txBody>
                    <a:bodyPr/>
                    <a:lstStyle/>
                    <a:p>
                      <a:r>
                        <a:rPr lang="fr-FR" dirty="0" smtClean="0"/>
                        <a:t>TX.1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MXX-MXX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3706222"/>
                  </a:ext>
                </a:extLst>
              </a:tr>
              <a:tr h="787723">
                <a:tc>
                  <a:txBody>
                    <a:bodyPr/>
                    <a:lstStyle/>
                    <a:p>
                      <a:r>
                        <a:rPr lang="fr-FR" dirty="0" smtClean="0"/>
                        <a:t>TX.2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4283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26517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2 – SCOPE &amp; Objectiv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 dirty="0" smtClean="0"/>
              <a:t>(Objectives)</a:t>
            </a:r>
          </a:p>
          <a:p>
            <a:r>
              <a:rPr lang="fr-FR" dirty="0" smtClean="0"/>
              <a:t>(By </a:t>
            </a:r>
            <a:r>
              <a:rPr lang="fr-FR" dirty="0" err="1" smtClean="0"/>
              <a:t>task</a:t>
            </a:r>
            <a:r>
              <a:rPr lang="fr-FR" dirty="0" smtClean="0"/>
              <a:t> objectives)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9081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 smtClean="0"/>
          </a:p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3 – </a:t>
            </a:r>
            <a:r>
              <a:rPr lang="fr-FR" dirty="0" err="1" smtClean="0"/>
              <a:t>Current</a:t>
            </a:r>
            <a:r>
              <a:rPr lang="fr-FR" dirty="0" smtClean="0"/>
              <a:t> </a:t>
            </a:r>
            <a:r>
              <a:rPr lang="fr-FR" dirty="0" err="1" smtClean="0"/>
              <a:t>Status</a:t>
            </a:r>
            <a:r>
              <a:rPr lang="fr-FR" dirty="0" smtClean="0"/>
              <a:t> &amp; </a:t>
            </a:r>
            <a:r>
              <a:rPr lang="fr-FR" dirty="0" err="1" smtClean="0"/>
              <a:t>Achievements</a:t>
            </a:r>
            <a:r>
              <a:rPr lang="fr-FR" dirty="0" smtClean="0"/>
              <a:t/>
            </a:r>
            <a:br>
              <a:rPr lang="fr-FR" dirty="0" smtClean="0"/>
            </a:b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11" name="Espace réservé du contenu 8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10368000" cy="4968000"/>
          </a:xfrm>
        </p:spPr>
        <p:txBody>
          <a:bodyPr/>
          <a:lstStyle/>
          <a:p>
            <a:r>
              <a:rPr lang="fr-FR" dirty="0" smtClean="0"/>
              <a:t>As </a:t>
            </a:r>
            <a:r>
              <a:rPr lang="fr-FR" dirty="0" err="1" smtClean="0"/>
              <a:t>many</a:t>
            </a:r>
            <a:r>
              <a:rPr lang="fr-FR" dirty="0" smtClean="0"/>
              <a:t> slides as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want</a:t>
            </a:r>
            <a:r>
              <a:rPr lang="fr-FR" dirty="0" smtClean="0"/>
              <a:t> in the </a:t>
            </a:r>
            <a:r>
              <a:rPr lang="fr-FR" dirty="0" err="1" smtClean="0"/>
              <a:t>imparted</a:t>
            </a:r>
            <a:r>
              <a:rPr lang="fr-FR" dirty="0" smtClean="0"/>
              <a:t> time</a:t>
            </a:r>
          </a:p>
          <a:p>
            <a:r>
              <a:rPr lang="fr-FR" dirty="0" smtClean="0"/>
              <a:t>Most of the focus </a:t>
            </a:r>
            <a:r>
              <a:rPr lang="fr-FR" dirty="0" err="1" smtClean="0"/>
              <a:t>should</a:t>
            </a:r>
            <a:r>
              <a:rPr lang="fr-FR" dirty="0" smtClean="0"/>
              <a:t> </a:t>
            </a:r>
            <a:r>
              <a:rPr lang="fr-FR" dirty="0" err="1" smtClean="0"/>
              <a:t>be</a:t>
            </a:r>
            <a:r>
              <a:rPr lang="fr-FR" dirty="0" smtClean="0"/>
              <a:t> </a:t>
            </a:r>
            <a:r>
              <a:rPr lang="fr-FR" dirty="0" err="1" smtClean="0"/>
              <a:t>here</a:t>
            </a:r>
            <a:endParaRPr lang="fr-FR" dirty="0" smtClean="0"/>
          </a:p>
          <a:p>
            <a:endParaRPr lang="fr-FR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40740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4</a:t>
            </a:r>
            <a:r>
              <a:rPr lang="fr-FR" dirty="0" smtClean="0"/>
              <a:t> – </a:t>
            </a:r>
            <a:r>
              <a:rPr lang="fr-FR" dirty="0" err="1" smtClean="0"/>
              <a:t>Submitted</a:t>
            </a:r>
            <a:r>
              <a:rPr lang="fr-FR" dirty="0" smtClean="0"/>
              <a:t> </a:t>
            </a:r>
            <a:r>
              <a:rPr lang="fr-FR" dirty="0" err="1" smtClean="0"/>
              <a:t>Deliverables</a:t>
            </a:r>
            <a:r>
              <a:rPr lang="fr-FR" dirty="0" smtClean="0"/>
              <a:t/>
            </a:r>
            <a:br>
              <a:rPr lang="fr-FR" dirty="0" smtClean="0"/>
            </a:b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 dirty="0" smtClean="0"/>
              <a:t>DX.1, MXX, </a:t>
            </a:r>
            <a:r>
              <a:rPr lang="fr-FR" dirty="0" err="1" smtClean="0"/>
              <a:t>Title</a:t>
            </a:r>
            <a:endParaRPr lang="fr-FR" dirty="0" smtClean="0"/>
          </a:p>
          <a:p>
            <a:pPr lvl="1"/>
            <a:r>
              <a:rPr lang="fr-FR" dirty="0" smtClean="0"/>
              <a:t>Description</a:t>
            </a:r>
          </a:p>
          <a:p>
            <a:pPr lvl="1"/>
            <a:endParaRPr lang="fr-FR" dirty="0"/>
          </a:p>
          <a:p>
            <a:pPr marL="252000" lvl="1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3016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C9E12E-B644-483D-91C0-391C4A708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5 – </a:t>
            </a:r>
            <a:r>
              <a:rPr lang="fr-FR" dirty="0" smtClean="0"/>
              <a:t>Roadmap</a:t>
            </a:r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00047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C9E12E-B644-483D-91C0-391C4A708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6 – </a:t>
            </a:r>
            <a:r>
              <a:rPr lang="fr-FR" dirty="0" err="1" smtClean="0"/>
              <a:t>Risks</a:t>
            </a:r>
            <a:r>
              <a:rPr lang="fr-FR" dirty="0" smtClean="0"/>
              <a:t> &amp; </a:t>
            </a:r>
            <a:r>
              <a:rPr lang="fr-FR" dirty="0" err="1" smtClean="0"/>
              <a:t>Deviations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err="1" smtClean="0">
                <a:solidFill>
                  <a:schemeClr val="accent1"/>
                </a:solidFill>
              </a:rPr>
              <a:t>RISKs</a:t>
            </a:r>
            <a:endParaRPr lang="en-US" noProof="0" dirty="0">
              <a:solidFill>
                <a:schemeClr val="accent1"/>
              </a:solidFill>
            </a:endParaRPr>
          </a:p>
        </p:txBody>
      </p:sp>
      <p:graphicFrame>
        <p:nvGraphicFramePr>
          <p:cNvPr id="30" name="Content Placeholder 4">
            <a:extLst>
              <a:ext uri="{FF2B5EF4-FFF2-40B4-BE49-F238E27FC236}">
                <a16:creationId xmlns:a16="http://schemas.microsoft.com/office/drawing/2014/main" id="{53368812-1430-F345-876B-62E27FD5D86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121779010"/>
              </p:ext>
            </p:extLst>
          </p:nvPr>
        </p:nvGraphicFramePr>
        <p:xfrm>
          <a:off x="379549" y="1793875"/>
          <a:ext cx="10689045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8691">
                  <a:extLst>
                    <a:ext uri="{9D8B030D-6E8A-4147-A177-3AD203B41FA5}">
                      <a16:colId xmlns:a16="http://schemas.microsoft.com/office/drawing/2014/main" val="3070882286"/>
                    </a:ext>
                  </a:extLst>
                </a:gridCol>
                <a:gridCol w="2046514">
                  <a:extLst>
                    <a:ext uri="{9D8B030D-6E8A-4147-A177-3AD203B41FA5}">
                      <a16:colId xmlns:a16="http://schemas.microsoft.com/office/drawing/2014/main" val="1424732837"/>
                    </a:ext>
                  </a:extLst>
                </a:gridCol>
                <a:gridCol w="1201783">
                  <a:extLst>
                    <a:ext uri="{9D8B030D-6E8A-4147-A177-3AD203B41FA5}">
                      <a16:colId xmlns:a16="http://schemas.microsoft.com/office/drawing/2014/main" val="3888718147"/>
                    </a:ext>
                  </a:extLst>
                </a:gridCol>
                <a:gridCol w="1515292">
                  <a:extLst>
                    <a:ext uri="{9D8B030D-6E8A-4147-A177-3AD203B41FA5}">
                      <a16:colId xmlns:a16="http://schemas.microsoft.com/office/drawing/2014/main" val="1845916951"/>
                    </a:ext>
                  </a:extLst>
                </a:gridCol>
                <a:gridCol w="801188">
                  <a:extLst>
                    <a:ext uri="{9D8B030D-6E8A-4147-A177-3AD203B41FA5}">
                      <a16:colId xmlns:a16="http://schemas.microsoft.com/office/drawing/2014/main" val="522750547"/>
                    </a:ext>
                  </a:extLst>
                </a:gridCol>
                <a:gridCol w="4345577">
                  <a:extLst>
                    <a:ext uri="{9D8B030D-6E8A-4147-A177-3AD203B41FA5}">
                      <a16:colId xmlns:a16="http://schemas.microsoft.com/office/drawing/2014/main" val="10730097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Titl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Severity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Occurr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Measures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deployed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240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 smtClean="0"/>
                        <a:t>RX.1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M12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65634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 smtClean="0"/>
                        <a:t>RX.2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M12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78061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 smtClean="0"/>
                        <a:t>RX.3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M12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37054"/>
                  </a:ext>
                </a:extLst>
              </a:tr>
            </a:tbl>
          </a:graphicData>
        </a:graphic>
      </p:graphicFrame>
      <p:sp>
        <p:nvSpPr>
          <p:cNvPr id="31" name="ZoneTexte 30"/>
          <p:cNvSpPr txBox="1"/>
          <p:nvPr/>
        </p:nvSpPr>
        <p:spPr>
          <a:xfrm>
            <a:off x="375832" y="3776784"/>
            <a:ext cx="5348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(to </a:t>
            </a:r>
            <a:r>
              <a:rPr lang="fr-FR" dirty="0" err="1" smtClean="0"/>
              <a:t>be</a:t>
            </a:r>
            <a:r>
              <a:rPr lang="fr-FR" dirty="0" smtClean="0"/>
              <a:t> </a:t>
            </a:r>
            <a:r>
              <a:rPr lang="fr-FR" dirty="0" err="1" smtClean="0"/>
              <a:t>taken</a:t>
            </a:r>
            <a:r>
              <a:rPr lang="fr-FR" dirty="0" smtClean="0"/>
              <a:t> </a:t>
            </a:r>
            <a:r>
              <a:rPr lang="fr-FR" dirty="0" err="1" smtClean="0"/>
              <a:t>from</a:t>
            </a:r>
            <a:r>
              <a:rPr lang="fr-FR" dirty="0" smtClean="0"/>
              <a:t> </a:t>
            </a:r>
            <a:r>
              <a:rPr lang="fr-FR" dirty="0" err="1" smtClean="0"/>
              <a:t>excel</a:t>
            </a:r>
            <a:r>
              <a:rPr lang="fr-FR" dirty="0" smtClean="0"/>
              <a:t> </a:t>
            </a:r>
            <a:r>
              <a:rPr lang="fr-FR" dirty="0" err="1" smtClean="0"/>
              <a:t>sheet</a:t>
            </a:r>
            <a:r>
              <a:rPr lang="fr-FR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98168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heme/theme1.xml><?xml version="1.0" encoding="utf-8"?>
<a:theme xmlns:a="http://schemas.openxmlformats.org/drawingml/2006/main" name="Office Theme">
  <a:themeElements>
    <a:clrScheme name="Custom 353">
      <a:dk1>
        <a:srgbClr val="000000"/>
      </a:dk1>
      <a:lt1>
        <a:sysClr val="window" lastClr="FFFFFF"/>
      </a:lt1>
      <a:dk2>
        <a:srgbClr val="445467"/>
      </a:dk2>
      <a:lt2>
        <a:srgbClr val="E7E6E6"/>
      </a:lt2>
      <a:accent1>
        <a:srgbClr val="BC2026"/>
      </a:accent1>
      <a:accent2>
        <a:srgbClr val="F47D60"/>
      </a:accent2>
      <a:accent3>
        <a:srgbClr val="F1553D"/>
      </a:accent3>
      <a:accent4>
        <a:srgbClr val="931A1D"/>
      </a:accent4>
      <a:accent5>
        <a:srgbClr val="F9AC91"/>
      </a:accent5>
      <a:accent6>
        <a:srgbClr val="B4B4B4"/>
      </a:accent6>
      <a:hlink>
        <a:srgbClr val="F47D60"/>
      </a:hlink>
      <a:folHlink>
        <a:srgbClr val="F1553D"/>
      </a:folHlink>
    </a:clrScheme>
    <a:fontScheme name="Custom 8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43742752-C9DF-4E10-B1C2-B4249C77DD57}" vid="{894653B2-B35C-4F27-BCE8-0C817B610E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119</TotalTime>
  <Words>192</Words>
  <Application>Microsoft Office PowerPoint</Application>
  <PresentationFormat>Grand écran</PresentationFormat>
  <Paragraphs>75</Paragraphs>
  <Slides>12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18" baseType="lpstr">
      <vt:lpstr>BatangChe</vt:lpstr>
      <vt:lpstr>Arial</vt:lpstr>
      <vt:lpstr>Lato Semibold</vt:lpstr>
      <vt:lpstr>Wingdings 3</vt:lpstr>
      <vt:lpstr>Office Theme</vt:lpstr>
      <vt:lpstr>think-cell Slide</vt:lpstr>
      <vt:lpstr>WP X Presentation</vt:lpstr>
      <vt:lpstr>Summary  </vt:lpstr>
      <vt:lpstr>1 – INTRODUCTION</vt:lpstr>
      <vt:lpstr>2 – SCOPE &amp; Objectives WP Overview</vt:lpstr>
      <vt:lpstr>2 – SCOPE &amp; Objectives</vt:lpstr>
      <vt:lpstr>3 – Current Status &amp; Achievements </vt:lpstr>
      <vt:lpstr>4 – Submitted Deliverables </vt:lpstr>
      <vt:lpstr>5 – Roadmap</vt:lpstr>
      <vt:lpstr>6 – Risks &amp; Deviations RISKs</vt:lpstr>
      <vt:lpstr>6 – Risks &amp; Deviations DEVIATIONS</vt:lpstr>
      <vt:lpstr>7 – Demonstration</vt:lpstr>
      <vt:lpstr>Thank you for watching!</vt:lpstr>
    </vt:vector>
  </TitlesOfParts>
  <Company>Grizli777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ca</dc:creator>
  <cp:lastModifiedBy>Augustin</cp:lastModifiedBy>
  <cp:revision>1119</cp:revision>
  <dcterms:created xsi:type="dcterms:W3CDTF">2016-11-27T15:46:03Z</dcterms:created>
  <dcterms:modified xsi:type="dcterms:W3CDTF">2020-02-11T13:32:47Z</dcterms:modified>
</cp:coreProperties>
</file>